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624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1466811-AD3D-49C3-948C-A50135232A05}"/>
    <pc:docChg chg="delSld">
      <pc:chgData name="Meyer Raphael (PAR-ES)" userId="79615dfe-ed48-4e74-a40f-4f7b034c1c27" providerId="ADAL" clId="{21466811-AD3D-49C3-948C-A50135232A05}" dt="2022-03-09T15:20:37.893" v="1" actId="47"/>
      <pc:docMkLst>
        <pc:docMk/>
      </pc:docMkLst>
      <pc:sldChg chg="del">
        <pc:chgData name="Meyer Raphael (PAR-ES)" userId="79615dfe-ed48-4e74-a40f-4f7b034c1c27" providerId="ADAL" clId="{21466811-AD3D-49C3-948C-A50135232A05}" dt="2022-03-09T15:20:35.083" v="0" actId="47"/>
        <pc:sldMkLst>
          <pc:docMk/>
          <pc:sldMk cId="3064315074" sldId="413"/>
        </pc:sldMkLst>
      </pc:sldChg>
      <pc:sldChg chg="del">
        <pc:chgData name="Meyer Raphael (PAR-ES)" userId="79615dfe-ed48-4e74-a40f-4f7b034c1c27" providerId="ADAL" clId="{21466811-AD3D-49C3-948C-A50135232A05}" dt="2022-03-09T15:20:37.893" v="1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21466811-AD3D-49C3-948C-A50135232A05}" dt="2022-03-09T15:20:37.893" v="1" actId="47"/>
        <pc:sldMkLst>
          <pc:docMk/>
          <pc:sldMk cId="2150380132" sldId="416"/>
        </pc:sldMkLst>
      </pc:sldChg>
    </pc:docChg>
  </pc:docChgLst>
  <pc:docChgLst>
    <pc:chgData name="Weigel Stefan (PAR-ES)" userId="fd3b2067-2981-4ad8-bf3a-d2e1004e4fa8" providerId="ADAL" clId="{674A7E96-048B-4A95-8DA8-1B74A584BE97}"/>
    <pc:docChg chg="modSld">
      <pc:chgData name="Weigel Stefan (PAR-ES)" userId="fd3b2067-2981-4ad8-bf3a-d2e1004e4fa8" providerId="ADAL" clId="{674A7E96-048B-4A95-8DA8-1B74A584BE97}" dt="2023-01-31T18:15:40.941" v="32"/>
      <pc:docMkLst>
        <pc:docMk/>
      </pc:docMkLst>
      <pc:sldChg chg="modSp mod">
        <pc:chgData name="Weigel Stefan (PAR-ES)" userId="fd3b2067-2981-4ad8-bf3a-d2e1004e4fa8" providerId="ADAL" clId="{674A7E96-048B-4A95-8DA8-1B74A584BE97}" dt="2023-01-31T18:15:40.941" v="32"/>
        <pc:sldMkLst>
          <pc:docMk/>
          <pc:sldMk cId="1214120989" sldId="414"/>
        </pc:sldMkLst>
        <pc:spChg chg="mod">
          <ac:chgData name="Weigel Stefan (PAR-ES)" userId="fd3b2067-2981-4ad8-bf3a-d2e1004e4fa8" providerId="ADAL" clId="{674A7E96-048B-4A95-8DA8-1B74A584BE97}" dt="2023-01-31T18:11:57.820" v="1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674A7E96-048B-4A95-8DA8-1B74A584BE97}" dt="2023-01-31T18:12:05.942" v="13" actId="20577"/>
          <ac:spMkLst>
            <pc:docMk/>
            <pc:sldMk cId="1214120989" sldId="414"/>
            <ac:spMk id="11" creationId="{51A102DA-4F4E-474F-9E16-1E7F70764A16}"/>
          </ac:spMkLst>
        </pc:spChg>
        <pc:graphicFrameChg chg="mod">
          <ac:chgData name="Weigel Stefan (PAR-ES)" userId="fd3b2067-2981-4ad8-bf3a-d2e1004e4fa8" providerId="ADAL" clId="{674A7E96-048B-4A95-8DA8-1B74A584BE97}" dt="2023-01-31T18:15:40.941" v="32"/>
          <ac:graphicFrameMkLst>
            <pc:docMk/>
            <pc:sldMk cId="1214120989" sldId="414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PS)" userId="fd3b2067-2981-4ad8-bf3a-d2e1004e4fa8" providerId="ADAL" clId="{3613ED2E-5630-47EE-AFAB-2DAC3552DDF1}"/>
    <pc:docChg chg="modSld">
      <pc:chgData name="Weigel Stefan (PAR-EPS)" userId="fd3b2067-2981-4ad8-bf3a-d2e1004e4fa8" providerId="ADAL" clId="{3613ED2E-5630-47EE-AFAB-2DAC3552DDF1}" dt="2024-02-28T12:03:47.505" v="2" actId="27918"/>
      <pc:docMkLst>
        <pc:docMk/>
      </pc:docMkLst>
      <pc:sldChg chg="mod">
        <pc:chgData name="Weigel Stefan (PAR-EPS)" userId="fd3b2067-2981-4ad8-bf3a-d2e1004e4fa8" providerId="ADAL" clId="{3613ED2E-5630-47EE-AFAB-2DAC3552DDF1}" dt="2024-02-28T12:03:47.505" v="2" actId="27918"/>
        <pc:sldMkLst>
          <pc:docMk/>
          <pc:sldMk cId="1214120989" sldId="414"/>
        </pc:sldMkLst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Weigel Stefan (PAR-EPS)" userId="fd3b2067-2981-4ad8-bf3a-d2e1004e4fa8" providerId="ADAL" clId="{799C4FCF-A015-4426-884F-1565B278BD44}"/>
    <pc:docChg chg="modSld">
      <pc:chgData name="Weigel Stefan (PAR-EPS)" userId="fd3b2067-2981-4ad8-bf3a-d2e1004e4fa8" providerId="ADAL" clId="{799C4FCF-A015-4426-884F-1565B278BD44}" dt="2024-02-13T15:48:20.489" v="79" actId="20577"/>
      <pc:docMkLst>
        <pc:docMk/>
      </pc:docMkLst>
      <pc:sldChg chg="addSp modSp mod">
        <pc:chgData name="Weigel Stefan (PAR-EPS)" userId="fd3b2067-2981-4ad8-bf3a-d2e1004e4fa8" providerId="ADAL" clId="{799C4FCF-A015-4426-884F-1565B278BD44}" dt="2024-02-13T15:48:20.489" v="79" actId="20577"/>
        <pc:sldMkLst>
          <pc:docMk/>
          <pc:sldMk cId="1214120989" sldId="414"/>
        </pc:sldMkLst>
        <pc:spChg chg="mod">
          <ac:chgData name="Weigel Stefan (PAR-EPS)" userId="fd3b2067-2981-4ad8-bf3a-d2e1004e4fa8" providerId="ADAL" clId="{799C4FCF-A015-4426-884F-1565B278BD44}" dt="2024-02-02T09:13:07.462" v="1" actId="20577"/>
          <ac:spMkLst>
            <pc:docMk/>
            <pc:sldMk cId="1214120989" sldId="414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799C4FCF-A015-4426-884F-1565B278BD44}" dt="2024-02-13T15:46:50.263" v="72"/>
          <ac:spMkLst>
            <pc:docMk/>
            <pc:sldMk cId="1214120989" sldId="414"/>
            <ac:spMk id="3" creationId="{B2E94FB4-FF5A-4A4F-2647-59A1E4A5872A}"/>
          </ac:spMkLst>
        </pc:spChg>
        <pc:spChg chg="mod">
          <ac:chgData name="Weigel Stefan (PAR-EPS)" userId="fd3b2067-2981-4ad8-bf3a-d2e1004e4fa8" providerId="ADAL" clId="{799C4FCF-A015-4426-884F-1565B278BD44}" dt="2024-02-13T15:48:20.489" v="79" actId="20577"/>
          <ac:spMkLst>
            <pc:docMk/>
            <pc:sldMk cId="1214120989" sldId="414"/>
            <ac:spMk id="11" creationId="{51A102DA-4F4E-474F-9E16-1E7F70764A16}"/>
          </ac:spMkLst>
        </pc:sp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29564144102445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Passenger traffic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ÖBB (AT)</c:v>
                </c:pt>
                <c:pt idx="10">
                  <c:v>DB AG (DE)</c:v>
                </c:pt>
                <c:pt idx="11">
                  <c:v>ProRail (NL)</c:v>
                </c:pt>
                <c:pt idx="12">
                  <c:v>SBB (CH)</c:v>
                </c:pt>
              </c:strCache>
            </c:strRef>
          </c:cat>
          <c:val>
            <c:numRef>
              <c:f>data!$M$3:$M$15</c:f>
              <c:numCache>
                <c:formatCode>0.00</c:formatCode>
                <c:ptCount val="13"/>
                <c:pt idx="0">
                  <c:v>9.3142118826157994</c:v>
                </c:pt>
                <c:pt idx="1">
                  <c:v>16.3250504907116</c:v>
                </c:pt>
                <c:pt idx="2">
                  <c:v>16.087904558648599</c:v>
                </c:pt>
                <c:pt idx="3">
                  <c:v>26.963614637271998</c:v>
                </c:pt>
                <c:pt idx="4">
                  <c:v>26.795122685533599</c:v>
                </c:pt>
                <c:pt idx="5">
                  <c:v>35.948329827371303</c:v>
                </c:pt>
                <c:pt idx="6">
                  <c:v>40.885322477907202</c:v>
                </c:pt>
                <c:pt idx="7">
                  <c:v>50.249412561272401</c:v>
                </c:pt>
                <c:pt idx="8">
                  <c:v>62.830343658090698</c:v>
                </c:pt>
                <c:pt idx="9">
                  <c:v>66.839797872370497</c:v>
                </c:pt>
                <c:pt idx="10">
                  <c:v>69.770920003732897</c:v>
                </c:pt>
                <c:pt idx="11">
                  <c:v>131.36389886167601</c:v>
                </c:pt>
                <c:pt idx="12">
                  <c:v>137.32515003161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Freight traffic</c:v>
                </c:pt>
              </c:strCache>
            </c:strRef>
          </c:tx>
          <c:spPr>
            <a:solidFill>
              <a:srgbClr val="727272"/>
            </a:solidFill>
          </c:spPr>
          <c:invertIfNegative val="0"/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ÖBB (AT)</c:v>
                </c:pt>
                <c:pt idx="10">
                  <c:v>DB AG (DE)</c:v>
                </c:pt>
                <c:pt idx="11">
                  <c:v>ProRail (NL)</c:v>
                </c:pt>
                <c:pt idx="12">
                  <c:v>SBB (CH)</c:v>
                </c:pt>
              </c:strCache>
            </c:strRef>
          </c:cat>
          <c:val>
            <c:numRef>
              <c:f>data!$N$3:$N$15</c:f>
              <c:numCache>
                <c:formatCode>0.00</c:formatCode>
                <c:ptCount val="13"/>
                <c:pt idx="0">
                  <c:v>7.7223439719602798</c:v>
                </c:pt>
                <c:pt idx="1">
                  <c:v>5.8735699675439896</c:v>
                </c:pt>
                <c:pt idx="2">
                  <c:v>6.4581240422764097</c:v>
                </c:pt>
                <c:pt idx="3">
                  <c:v>4.4774258351661702</c:v>
                </c:pt>
                <c:pt idx="4">
                  <c:v>12.283459941328299</c:v>
                </c:pt>
                <c:pt idx="5">
                  <c:v>10.466847510391</c:v>
                </c:pt>
                <c:pt idx="6">
                  <c:v>10.920539159339</c:v>
                </c:pt>
                <c:pt idx="7">
                  <c:v>8.4886647819962793</c:v>
                </c:pt>
                <c:pt idx="8">
                  <c:v>7.1122803165939299</c:v>
                </c:pt>
                <c:pt idx="9">
                  <c:v>25.7655152161431</c:v>
                </c:pt>
                <c:pt idx="10">
                  <c:v>22.986586246359199</c:v>
                </c:pt>
                <c:pt idx="11">
                  <c:v>10.4132562738465</c:v>
                </c:pt>
                <c:pt idx="12">
                  <c:v>23.681387173181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/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rgbClr val="5A5A5A"/>
            </a:solidFill>
          </a:ln>
        </c:sp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531415910283836"/>
          <c:y val="0.88185825591518729"/>
          <c:w val="0.27623831443418145"/>
          <c:h val="5.472318412195202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33</cdr:x>
      <cdr:y>0.0141</cdr:y>
    </cdr:from>
    <cdr:to>
      <cdr:x>0.90091</cdr:x>
      <cdr:y>0.0657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896544" y="63972"/>
          <a:ext cx="806878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Train </a:t>
          </a:r>
          <a:r>
            <a:rPr lang="de-CH" sz="1050" dirty="0" err="1"/>
            <a:t>density</a:t>
          </a:r>
          <a:endParaRPr lang="de-CH" sz="105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7510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load in Europe in 2022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23084210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UIC, </a:t>
            </a:r>
            <a:r>
              <a:rPr kumimoji="0" lang="de-CH" sz="8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verage number of trains per route per day on the railway infrastructure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2E94FB4-FF5A-4A4F-2647-59A1E4A5872A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120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145B205-9D12-4539-B0E5-6E26C7D1E8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Network load in Europe in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work load in Europe in 2022.</dc:title>
  <dc:creator>Meyer Raphael (KOM-PGA-VSF)</dc:creator>
  <cp:lastModifiedBy>Stefan Weigel (PAR-EPS)</cp:lastModifiedBy>
  <cp:revision>24</cp:revision>
  <cp:lastPrinted>2024-02-13T15:46:53Z</cp:lastPrinted>
  <dcterms:created xsi:type="dcterms:W3CDTF">2020-09-30T11:00:09Z</dcterms:created>
  <dcterms:modified xsi:type="dcterms:W3CDTF">2024-02-28T12:0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